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8"/>
  </p:notesMasterIdLst>
  <p:sldIdLst>
    <p:sldId id="593" r:id="rId2"/>
    <p:sldId id="811" r:id="rId3"/>
    <p:sldId id="815" r:id="rId4"/>
    <p:sldId id="397" r:id="rId5"/>
    <p:sldId id="447" r:id="rId6"/>
    <p:sldId id="809" r:id="rId7"/>
    <p:sldId id="395" r:id="rId8"/>
    <p:sldId id="350" r:id="rId9"/>
    <p:sldId id="383" r:id="rId10"/>
    <p:sldId id="384" r:id="rId11"/>
    <p:sldId id="357" r:id="rId12"/>
    <p:sldId id="448" r:id="rId13"/>
    <p:sldId id="449" r:id="rId14"/>
    <p:sldId id="816" r:id="rId15"/>
    <p:sldId id="372" r:id="rId16"/>
    <p:sldId id="392" r:id="rId17"/>
    <p:sldId id="450" r:id="rId18"/>
    <p:sldId id="386" r:id="rId19"/>
    <p:sldId id="817" r:id="rId20"/>
    <p:sldId id="423" r:id="rId21"/>
    <p:sldId id="424" r:id="rId22"/>
    <p:sldId id="425" r:id="rId23"/>
    <p:sldId id="432" r:id="rId24"/>
    <p:sldId id="438" r:id="rId25"/>
    <p:sldId id="454" r:id="rId26"/>
    <p:sldId id="459" r:id="rId27"/>
    <p:sldId id="457" r:id="rId28"/>
    <p:sldId id="808" r:id="rId29"/>
    <p:sldId id="365" r:id="rId30"/>
    <p:sldId id="355" r:id="rId31"/>
    <p:sldId id="349" r:id="rId32"/>
    <p:sldId id="366" r:id="rId33"/>
    <p:sldId id="358" r:id="rId34"/>
    <p:sldId id="537" r:id="rId35"/>
    <p:sldId id="534" r:id="rId36"/>
    <p:sldId id="818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821" autoAdjust="0"/>
    <p:restoredTop sz="80395" autoAdjust="0"/>
  </p:normalViewPr>
  <p:slideViewPr>
    <p:cSldViewPr snapToGrid="0">
      <p:cViewPr varScale="1">
        <p:scale>
          <a:sx n="119" d="100"/>
          <a:sy n="119" d="100"/>
        </p:scale>
        <p:origin x="1608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6/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1A90D603-3AC1-4957-9F06-296EB9CD5782}" type="slidenum">
              <a:rPr lang="en-US" alt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3692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it = log odds = logarithm of the odds p/(1 − p) 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n(p/(1-p) = b0 + b1 +</a:t>
            </a:r>
            <a:r>
              <a:rPr lang="en-US" alt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2 …e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 is defined as the probability that Y=1 then we take the log odds</a:t>
            </a:r>
            <a:endParaRPr lang="en-US" altLang="en-US" dirty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29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694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151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80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11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215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3072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6/9/2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461738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6/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2"/>
            <a:ext cx="1971675" cy="4487594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47488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6/9/24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6/9/24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6/9/24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6/9/24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6/9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6/9/24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461420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460142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6/9/24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451572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6"/>
            <a:ext cx="2949178" cy="447778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6/9/24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6/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NUL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NULL"/><Relationship Id="rId4" Type="http://schemas.openxmlformats.org/officeDocument/2006/relationships/image" Target="../media/image18.em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fivethirtyeight.com/features/how-a-data-scientist-whod-never-heard-of-basketball-mastered-march-madness/" TargetMode="Externa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xt Mining &amp; NLP</a:t>
            </a:r>
            <a:br>
              <a:rPr lang="en-US" dirty="0"/>
            </a:br>
            <a:r>
              <a:rPr lang="en-US" dirty="0"/>
              <a:t>Document Classific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ed Kwartl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3041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94623"/>
            <a:ext cx="9144000" cy="591477"/>
          </a:xfrm>
        </p:spPr>
        <p:txBody>
          <a:bodyPr/>
          <a:lstStyle/>
          <a:p>
            <a:r>
              <a:rPr lang="en-US" sz="320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5CEAD72-6A90-B14E-BDC8-D99A947BC60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37E0CA4-7D82-764E-9AC0-55FB214F9D2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D6BD766B-1A0F-0E48-9B8C-661144D0BF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Regression Equation Review</a:t>
            </a:r>
            <a:endParaRPr lang="en-US" altLang="en-US" dirty="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63BE0015-3669-4B61-838B-4CD1B6B72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5041F19-D13B-42E7-BAA8-42A5CD2716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57FD63EC-965B-4FC7-B0F9-A4AECBAF08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81351" y="2746056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</a:p>
          </p:txBody>
        </p:sp>
      </p:grpSp>
      <p:sp>
        <p:nvSpPr>
          <p:cNvPr id="6" name="Rectangle 5"/>
          <p:cNvSpPr/>
          <p:nvPr/>
        </p:nvSpPr>
        <p:spPr>
          <a:xfrm>
            <a:off x="492369" y="1339687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273669" y="134921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Many Cones?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85B724-6ACD-6246-80B2-C0403B75ACBE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73F199F-5569-194A-91C0-C35500FD11B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8112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8230896" cy="1884473"/>
            <a:chOff x="629493" y="1419881"/>
            <a:chExt cx="823089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704299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704299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901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6C4699AA-68E6-96AD-DB0A-440CE11BD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8134076" cy="1884473"/>
            <a:chOff x="629493" y="1419881"/>
            <a:chExt cx="813407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2" y="2248718"/>
                  <a:ext cx="6946177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2" y="2248718"/>
                  <a:ext cx="6946177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912" r="-182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5568894"/>
              </p:ext>
            </p:extLst>
          </p:nvPr>
        </p:nvGraphicFramePr>
        <p:xfrm>
          <a:off x="673823" y="3968078"/>
          <a:ext cx="6946175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92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92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92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892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89235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D7EC099-E780-95C7-5668-F7609A9B34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245350" y="6356350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0EA7CF-7C85-6C46-8297-0D6E255502E0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5F9567F-C37F-FE44-85AA-6F46BCA481AD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3087149-DB3A-244E-8D9D-0ECD6ABDE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26A7D0B-55AC-40B0-AF34-184DF41C8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ar Regression</a:t>
            </a:r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7882EB1D-E4F6-43E0-AE5A-D73ABBA4AB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E4654999-DD13-4EEC-8244-871A049990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edictions is continuous…it continues forever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54DB1FE-3240-7443-8B59-0DC900EB7AAE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F963FF-FF28-3845-83A0-2757F17D503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Minimizing the Sum of Ordinary Least Squared Error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2257850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2798526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1638553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1639939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1726971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1726971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6364B2-BE15-5A49-8353-421DDA111A18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8A56E27-82CD-0041-8360-5B1AFEF561DC}"/>
              </a:ext>
            </a:extLst>
          </p:cNvPr>
          <p:cNvCxnSpPr/>
          <p:nvPr/>
        </p:nvCxnSpPr>
        <p:spPr>
          <a:xfrm>
            <a:off x="7076661" y="5052040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ig Error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915982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2456658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4203349" y="2562192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714715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580953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500364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3397410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504753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933503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511008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53B23C6-A363-3A4B-8740-C49510803498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2900B9AB-E4C1-8643-A8D3-FCE54C2E04C5}"/>
              </a:ext>
            </a:extLst>
          </p:cNvPr>
          <p:cNvSpPr/>
          <p:nvPr/>
        </p:nvSpPr>
        <p:spPr>
          <a:xfrm>
            <a:off x="4267532" y="1622144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B1E1AF1-53D7-A541-85E5-859D2AD603B6}"/>
              </a:ext>
            </a:extLst>
          </p:cNvPr>
          <p:cNvSpPr/>
          <p:nvPr/>
        </p:nvSpPr>
        <p:spPr>
          <a:xfrm>
            <a:off x="99750" y="1623530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160699F-E11C-A040-BEB0-02B49E2E3576}"/>
              </a:ext>
            </a:extLst>
          </p:cNvPr>
          <p:cNvSpPr txBox="1"/>
          <p:nvPr/>
        </p:nvSpPr>
        <p:spPr>
          <a:xfrm>
            <a:off x="3394803" y="1710562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CF00B53-326A-ED4F-868F-B055ADC571F4}"/>
              </a:ext>
            </a:extLst>
          </p:cNvPr>
          <p:cNvSpPr txBox="1"/>
          <p:nvPr/>
        </p:nvSpPr>
        <p:spPr>
          <a:xfrm>
            <a:off x="7562584" y="1710562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 what is really going on?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740" y="1761431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315884" y="1081218"/>
            <a:ext cx="8512233" cy="4996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16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16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BAF5988-CFF2-CF45-8152-B5C1FD1B51F4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733890B-9424-1149-BA60-87FA559E7275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C338A7-2631-4CAB-8FD1-FA2B9EFBD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D96815-0C83-42CE-AC07-527ACA7FA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newCar.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12987C-E3A6-42DD-AFFF-EB8A2EBC4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E7633-B0A8-4E26-B238-66B7D58C33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9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2AA9403-8033-6A46-8310-CE674110627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B668BBE-B24A-BD43-AED1-831C03D746CB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51B9CA7-1017-473F-D642-093D4367F5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5248" y="1338257"/>
            <a:ext cx="4752190" cy="450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178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EBB200-FD53-443C-A445-1CEB0D6AF0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278885-94D7-46C5-A6EF-8284E42A9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E2758-EAB0-48B2-A657-DA1A3686F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3D23F0-EACF-4BCF-928D-60A2538E1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Shape 278">
            <a:extLst>
              <a:ext uri="{FF2B5EF4-FFF2-40B4-BE49-F238E27FC236}">
                <a16:creationId xmlns:a16="http://schemas.microsoft.com/office/drawing/2014/main" id="{914AFED0-5CA1-4EEB-B9AD-33A2C567EACA}"/>
              </a:ext>
            </a:extLst>
          </p:cNvPr>
          <p:cNvSpPr txBox="1"/>
          <p:nvPr/>
        </p:nvSpPr>
        <p:spPr>
          <a:xfrm>
            <a:off x="206000" y="1107533"/>
            <a:ext cx="8778300" cy="441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>
            <a:extLst>
              <a:ext uri="{FF2B5EF4-FFF2-40B4-BE49-F238E27FC236}">
                <a16:creationId xmlns:a16="http://schemas.microsoft.com/office/drawing/2014/main" id="{5FF15F1E-6456-4033-AED8-8A1E1406D2ED}"/>
              </a:ext>
            </a:extLst>
          </p:cNvPr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>
            <a:extLst>
              <a:ext uri="{FF2B5EF4-FFF2-40B4-BE49-F238E27FC236}">
                <a16:creationId xmlns:a16="http://schemas.microsoft.com/office/drawing/2014/main" id="{89D91387-F3AF-4970-B655-1BAB74AD1B9B}"/>
              </a:ext>
            </a:extLst>
          </p:cNvPr>
          <p:cNvGrpSpPr/>
          <p:nvPr/>
        </p:nvGrpSpPr>
        <p:grpSpPr>
          <a:xfrm>
            <a:off x="325016" y="2776109"/>
            <a:ext cx="980217" cy="916620"/>
            <a:chOff x="4044175" y="930800"/>
            <a:chExt cx="806099" cy="730199"/>
          </a:xfrm>
        </p:grpSpPr>
        <p:sp>
          <p:nvSpPr>
            <p:cNvPr id="9" name="Shape 281">
              <a:extLst>
                <a:ext uri="{FF2B5EF4-FFF2-40B4-BE49-F238E27FC236}">
                  <a16:creationId xmlns:a16="http://schemas.microsoft.com/office/drawing/2014/main" id="{9466159C-F683-4701-8EE6-240B15CE49CE}"/>
                </a:ext>
              </a:extLst>
            </p:cNvPr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>
              <a:extLst>
                <a:ext uri="{FF2B5EF4-FFF2-40B4-BE49-F238E27FC236}">
                  <a16:creationId xmlns:a16="http://schemas.microsoft.com/office/drawing/2014/main" id="{397336C6-986A-4222-8529-A81F1650FA7C}"/>
                </a:ext>
              </a:extLst>
            </p:cNvPr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>
              <a:extLst>
                <a:ext uri="{FF2B5EF4-FFF2-40B4-BE49-F238E27FC236}">
                  <a16:creationId xmlns:a16="http://schemas.microsoft.com/office/drawing/2014/main" id="{BAA57546-2820-4A33-AA79-9E90A0CC752B}"/>
                </a:ext>
              </a:extLst>
            </p:cNvPr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>
              <a:extLst>
                <a:ext uri="{FF2B5EF4-FFF2-40B4-BE49-F238E27FC236}">
                  <a16:creationId xmlns:a16="http://schemas.microsoft.com/office/drawing/2014/main" id="{207050D0-A7CB-4C7B-A0BF-FEF395EEF480}"/>
                </a:ext>
              </a:extLst>
            </p:cNvPr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>
            <a:extLst>
              <a:ext uri="{FF2B5EF4-FFF2-40B4-BE49-F238E27FC236}">
                <a16:creationId xmlns:a16="http://schemas.microsoft.com/office/drawing/2014/main" id="{C4E3B576-7840-41EE-B54D-02E70DEFD9F5}"/>
              </a:ext>
            </a:extLst>
          </p:cNvPr>
          <p:cNvSpPr txBox="1"/>
          <p:nvPr/>
        </p:nvSpPr>
        <p:spPr>
          <a:xfrm>
            <a:off x="395900" y="1889388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>
            <a:extLst>
              <a:ext uri="{FF2B5EF4-FFF2-40B4-BE49-F238E27FC236}">
                <a16:creationId xmlns:a16="http://schemas.microsoft.com/office/drawing/2014/main" id="{26E5CBC5-6D55-4FE8-AD6B-51D531BC4DAF}"/>
              </a:ext>
            </a:extLst>
          </p:cNvPr>
          <p:cNvSpPr txBox="1"/>
          <p:nvPr/>
        </p:nvSpPr>
        <p:spPr>
          <a:xfrm>
            <a:off x="2311004" y="1889389"/>
            <a:ext cx="1184400" cy="3406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Method</a:t>
            </a:r>
          </a:p>
        </p:txBody>
      </p:sp>
      <p:sp>
        <p:nvSpPr>
          <p:cNvPr id="15" name="Shape 287">
            <a:extLst>
              <a:ext uri="{FF2B5EF4-FFF2-40B4-BE49-F238E27FC236}">
                <a16:creationId xmlns:a16="http://schemas.microsoft.com/office/drawing/2014/main" id="{226197BF-BB15-426F-BE12-7DC2402E3B38}"/>
              </a:ext>
            </a:extLst>
          </p:cNvPr>
          <p:cNvSpPr txBox="1"/>
          <p:nvPr/>
        </p:nvSpPr>
        <p:spPr>
          <a:xfrm>
            <a:off x="0" y="3956522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>
            <a:extLst>
              <a:ext uri="{FF2B5EF4-FFF2-40B4-BE49-F238E27FC236}">
                <a16:creationId xmlns:a16="http://schemas.microsoft.com/office/drawing/2014/main" id="{43814FBE-B194-497C-A05C-F36EF7B124A8}"/>
              </a:ext>
            </a:extLst>
          </p:cNvPr>
          <p:cNvSpPr txBox="1"/>
          <p:nvPr/>
        </p:nvSpPr>
        <p:spPr>
          <a:xfrm>
            <a:off x="2209942" y="3956523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>
            <a:extLst>
              <a:ext uri="{FF2B5EF4-FFF2-40B4-BE49-F238E27FC236}">
                <a16:creationId xmlns:a16="http://schemas.microsoft.com/office/drawing/2014/main" id="{0188B232-1AFD-4B8A-8E85-A505C81B5749}"/>
              </a:ext>
            </a:extLst>
          </p:cNvPr>
          <p:cNvSpPr txBox="1"/>
          <p:nvPr/>
        </p:nvSpPr>
        <p:spPr>
          <a:xfrm>
            <a:off x="7154613" y="3956523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ake predictions for the target on the new data.  </a:t>
            </a:r>
          </a:p>
        </p:txBody>
      </p:sp>
      <p:sp>
        <p:nvSpPr>
          <p:cNvPr id="18" name="Shape 290">
            <a:extLst>
              <a:ext uri="{FF2B5EF4-FFF2-40B4-BE49-F238E27FC236}">
                <a16:creationId xmlns:a16="http://schemas.microsoft.com/office/drawing/2014/main" id="{2D2EC717-53D3-4DED-ABBD-FBC1EAEE62D9}"/>
              </a:ext>
            </a:extLst>
          </p:cNvPr>
          <p:cNvSpPr txBox="1"/>
          <p:nvPr/>
        </p:nvSpPr>
        <p:spPr>
          <a:xfrm>
            <a:off x="7133564" y="1889388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19" name="Shape 292">
            <a:extLst>
              <a:ext uri="{FF2B5EF4-FFF2-40B4-BE49-F238E27FC236}">
                <a16:creationId xmlns:a16="http://schemas.microsoft.com/office/drawing/2014/main" id="{0656DA3D-C3E5-4017-85BF-E87801ABB5EC}"/>
              </a:ext>
            </a:extLst>
          </p:cNvPr>
          <p:cNvSpPr txBox="1"/>
          <p:nvPr/>
        </p:nvSpPr>
        <p:spPr>
          <a:xfrm>
            <a:off x="4073209" y="1889387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Examples</a:t>
            </a:r>
          </a:p>
        </p:txBody>
      </p:sp>
      <p:sp>
        <p:nvSpPr>
          <p:cNvPr id="20" name="Shape 293">
            <a:extLst>
              <a:ext uri="{FF2B5EF4-FFF2-40B4-BE49-F238E27FC236}">
                <a16:creationId xmlns:a16="http://schemas.microsoft.com/office/drawing/2014/main" id="{831C07E6-2935-43C3-9F17-8F771CA84AD0}"/>
              </a:ext>
            </a:extLst>
          </p:cNvPr>
          <p:cNvSpPr txBox="1"/>
          <p:nvPr/>
        </p:nvSpPr>
        <p:spPr>
          <a:xfrm>
            <a:off x="4117909" y="2631429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21" name="Shape 294">
            <a:extLst>
              <a:ext uri="{FF2B5EF4-FFF2-40B4-BE49-F238E27FC236}">
                <a16:creationId xmlns:a16="http://schemas.microsoft.com/office/drawing/2014/main" id="{0121AB00-D320-4AB1-818E-A9C81D4AC036}"/>
              </a:ext>
            </a:extLst>
          </p:cNvPr>
          <p:cNvSpPr txBox="1"/>
          <p:nvPr/>
        </p:nvSpPr>
        <p:spPr>
          <a:xfrm>
            <a:off x="4117909" y="303864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22" name="Shape 296">
            <a:extLst>
              <a:ext uri="{FF2B5EF4-FFF2-40B4-BE49-F238E27FC236}">
                <a16:creationId xmlns:a16="http://schemas.microsoft.com/office/drawing/2014/main" id="{6445DD1F-C5F2-4A5C-96FC-AD9C6A057ACE}"/>
              </a:ext>
            </a:extLst>
          </p:cNvPr>
          <p:cNvSpPr/>
          <p:nvPr/>
        </p:nvSpPr>
        <p:spPr>
          <a:xfrm>
            <a:off x="1444187" y="2789656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3" name="Shape 297">
            <a:extLst>
              <a:ext uri="{FF2B5EF4-FFF2-40B4-BE49-F238E27FC236}">
                <a16:creationId xmlns:a16="http://schemas.microsoft.com/office/drawing/2014/main" id="{4605CDF1-BA5A-44AB-8EB2-9BF8A886E0C0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350849" y="2917298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Shape 298">
            <a:extLst>
              <a:ext uri="{FF2B5EF4-FFF2-40B4-BE49-F238E27FC236}">
                <a16:creationId xmlns:a16="http://schemas.microsoft.com/office/drawing/2014/main" id="{67309BC7-34DE-4F5A-9BFE-9C0BCA90456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06246" y="2695546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5" name="Shape 299">
            <a:extLst>
              <a:ext uri="{FF2B5EF4-FFF2-40B4-BE49-F238E27FC236}">
                <a16:creationId xmlns:a16="http://schemas.microsoft.com/office/drawing/2014/main" id="{41316317-FC53-4748-95B7-8CC8A8532066}"/>
              </a:ext>
            </a:extLst>
          </p:cNvPr>
          <p:cNvGrpSpPr/>
          <p:nvPr/>
        </p:nvGrpSpPr>
        <p:grpSpPr>
          <a:xfrm>
            <a:off x="7001844" y="2541497"/>
            <a:ext cx="1869736" cy="1124344"/>
            <a:chOff x="7143751" y="2114551"/>
            <a:chExt cx="1869736" cy="1124344"/>
          </a:xfrm>
        </p:grpSpPr>
        <p:grpSp>
          <p:nvGrpSpPr>
            <p:cNvPr id="26" name="Shape 300">
              <a:extLst>
                <a:ext uri="{FF2B5EF4-FFF2-40B4-BE49-F238E27FC236}">
                  <a16:creationId xmlns:a16="http://schemas.microsoft.com/office/drawing/2014/main" id="{C16932D2-2E6E-4E3E-95DF-170747ED04A3}"/>
                </a:ext>
              </a:extLst>
            </p:cNvPr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0" name="Shape 301">
                <a:extLst>
                  <a:ext uri="{FF2B5EF4-FFF2-40B4-BE49-F238E27FC236}">
                    <a16:creationId xmlns:a16="http://schemas.microsoft.com/office/drawing/2014/main" id="{B14D9B44-D24B-4363-A7CA-08F873A55B81}"/>
                  </a:ext>
                </a:extLst>
              </p:cNvPr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1" name="Shape 302">
                <a:extLst>
                  <a:ext uri="{FF2B5EF4-FFF2-40B4-BE49-F238E27FC236}">
                    <a16:creationId xmlns:a16="http://schemas.microsoft.com/office/drawing/2014/main" id="{E8A3D05E-D2A3-4A73-A968-874034906CF9}"/>
                  </a:ext>
                </a:extLst>
              </p:cNvPr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2" name="Shape 303">
                <a:extLst>
                  <a:ext uri="{FF2B5EF4-FFF2-40B4-BE49-F238E27FC236}">
                    <a16:creationId xmlns:a16="http://schemas.microsoft.com/office/drawing/2014/main" id="{12759A16-DEA8-4A6A-8994-2C0103C299E6}"/>
                  </a:ext>
                </a:extLst>
              </p:cNvPr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4">
                <a:extLst>
                  <a:ext uri="{FF2B5EF4-FFF2-40B4-BE49-F238E27FC236}">
                    <a16:creationId xmlns:a16="http://schemas.microsoft.com/office/drawing/2014/main" id="{C387BBBD-5D9D-40DB-BE82-9275CD2717C7}"/>
                  </a:ext>
                </a:extLst>
              </p:cNvPr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7" name="Shape 305">
              <a:extLst>
                <a:ext uri="{FF2B5EF4-FFF2-40B4-BE49-F238E27FC236}">
                  <a16:creationId xmlns:a16="http://schemas.microsoft.com/office/drawing/2014/main" id="{E77BFAA6-78F2-4910-945F-9D2682BAD5D5}"/>
                </a:ext>
              </a:extLst>
            </p:cNvPr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8" name="Shape 306">
              <a:extLst>
                <a:ext uri="{FF2B5EF4-FFF2-40B4-BE49-F238E27FC236}">
                  <a16:creationId xmlns:a16="http://schemas.microsoft.com/office/drawing/2014/main" id="{821BB7C8-EEAB-4B95-82B3-78E894CF6A80}"/>
                </a:ext>
              </a:extLst>
            </p:cNvPr>
            <p:cNvCxnSpPr>
              <a:endCxn id="29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29" name="Shape 307">
              <a:extLst>
                <a:ext uri="{FF2B5EF4-FFF2-40B4-BE49-F238E27FC236}">
                  <a16:creationId xmlns:a16="http://schemas.microsoft.com/office/drawing/2014/main" id="{42D1DBA9-0D7A-4331-88FA-79C8524A703C}"/>
                </a:ext>
              </a:extLst>
            </p:cNvPr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4" name="Shape 308">
            <a:extLst>
              <a:ext uri="{FF2B5EF4-FFF2-40B4-BE49-F238E27FC236}">
                <a16:creationId xmlns:a16="http://schemas.microsoft.com/office/drawing/2014/main" id="{AB810761-D369-4074-B6FA-C5064A740985}"/>
              </a:ext>
            </a:extLst>
          </p:cNvPr>
          <p:cNvCxnSpPr/>
          <p:nvPr/>
        </p:nvCxnSpPr>
        <p:spPr>
          <a:xfrm>
            <a:off x="334750" y="3975466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AB1C168-0F77-124F-BE06-F43A61A51CE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97287B8-E24C-0646-AF90-22893D28491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536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 of a fit summa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ED3115-D611-CA2D-B06E-94D178C73D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686" y="1068669"/>
            <a:ext cx="7167281" cy="5083685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16" idx="3"/>
            <a:endCxn id="13" idx="2"/>
          </p:cNvCxnSpPr>
          <p:nvPr/>
        </p:nvCxnSpPr>
        <p:spPr>
          <a:xfrm flipV="1">
            <a:off x="3064042" y="2011680"/>
            <a:ext cx="4882925" cy="2325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28650" y="2409716"/>
            <a:ext cx="2435392" cy="38546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3B008A-FAA6-EF4B-8FC5-AA7CC51E571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CFCEAD-9FFF-984C-A9A9-9AA60B6B393D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 of a fit summa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3ACA25-2DEE-EADC-37DD-A97511031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686" y="1068669"/>
            <a:ext cx="7167281" cy="5083685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16" idx="3"/>
            <a:endCxn id="13" idx="2"/>
          </p:cNvCxnSpPr>
          <p:nvPr/>
        </p:nvCxnSpPr>
        <p:spPr>
          <a:xfrm flipV="1">
            <a:off x="4753576" y="2011680"/>
            <a:ext cx="3193391" cy="2346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523298" y="2452744"/>
            <a:ext cx="1230278" cy="38116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31EC679-A7DA-BB49-B2C7-101E0D399ACD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52551E-DF8F-1C4D-9FC3-5A96A11AC20F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 of a fit summa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088B4E-EB34-816E-4581-33154161C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5009" y="1272666"/>
            <a:ext cx="7167281" cy="5083685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16" idx="3"/>
            <a:endCxn id="13" idx="2"/>
          </p:cNvCxnSpPr>
          <p:nvPr/>
        </p:nvCxnSpPr>
        <p:spPr>
          <a:xfrm>
            <a:off x="4604084" y="1988062"/>
            <a:ext cx="3168316" cy="236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730367"/>
            <a:ext cx="3506805" cy="5153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7C30F46-618E-5144-A15A-C47543BBEC25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FCAED0-17FA-9743-9EBA-A20CD1853D9A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8" y="3054927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9C6AEA1-4BBC-C4CF-6AFE-160A51812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AB6BE5-8D12-0D3A-2C07-A26DAB8E0E73}"/>
              </a:ext>
            </a:extLst>
          </p:cNvPr>
          <p:cNvSpPr/>
          <p:nvPr/>
        </p:nvSpPr>
        <p:spPr>
          <a:xfrm>
            <a:off x="628650" y="5666573"/>
            <a:ext cx="7631083" cy="36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 to the script.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1933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 – 98 variable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188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 – 29 variables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A5213CC-C0E5-1070-7A99-E90337755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863" y="2121247"/>
            <a:ext cx="7772400" cy="966841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>
          <a:xfrm>
            <a:off x="6457950" y="238427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F8DE2A-33CD-BD0A-5B58-54C6B1C300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043" y="4398950"/>
            <a:ext cx="7772400" cy="966841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6536479" y="4729970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8BFFC4BB-5590-FD46-BECF-C5BE526797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F4A4EC7-AFD4-14B7-BDDE-F4D136482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8AA6D31-4E3C-D0D7-DE20-8B9E7D5CC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2F87193D-A297-4F76-BEF4-28CE5DA4E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53CFAE-EEED-446B-A092-4331B16A9A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592735-A0D6-4362-95F6-F32CB9403F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1E0AE7-CAC9-47B9-A274-B44A13B54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2050" name="Picture 2" descr="Image result for regression meme">
            <a:extLst>
              <a:ext uri="{FF2B5EF4-FFF2-40B4-BE49-F238E27FC236}">
                <a16:creationId xmlns:a16="http://schemas.microsoft.com/office/drawing/2014/main" id="{2F1D0213-E5E0-4BFE-84DE-1A11D9255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6900" y="1833563"/>
            <a:ext cx="5410200" cy="3190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E97006A-4A94-BE46-989D-21A6AF7E493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6A5C2DC-139D-0642-BFBB-53902B7B3E99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91513510-252C-A428-9D9B-44A7D3F5E8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bout binary outcomes (Y/N, A/B, </a:t>
            </a:r>
            <a:r>
              <a:rPr lang="en-US" dirty="0" err="1"/>
              <a:t>etc</a:t>
            </a:r>
            <a:r>
              <a:rPr lang="en-US" dirty="0"/>
              <a:t>)?</a:t>
            </a:r>
          </a:p>
        </p:txBody>
      </p:sp>
    </p:spTree>
    <p:extLst>
      <p:ext uri="{BB962C8B-B14F-4D97-AF65-F5344CB8AC3E}">
        <p14:creationId xmlns:p14="http://schemas.microsoft.com/office/powerpoint/2010/main" val="3942953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Step 1: Logistic Response Function</a:t>
            </a:r>
          </a:p>
        </p:txBody>
      </p:sp>
      <p:sp>
        <p:nvSpPr>
          <p:cNvPr id="27" name="Date Placeholder 4">
            <a:extLst>
              <a:ext uri="{FF2B5EF4-FFF2-40B4-BE49-F238E27FC236}">
                <a16:creationId xmlns:a16="http://schemas.microsoft.com/office/drawing/2014/main" id="{BF6F864E-EC48-4E08-B7F3-6E907D5C43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28" name="Footer Placeholder 5">
            <a:extLst>
              <a:ext uri="{FF2B5EF4-FFF2-40B4-BE49-F238E27FC236}">
                <a16:creationId xmlns:a16="http://schemas.microsoft.com/office/drawing/2014/main" id="{A23A7B91-306A-41EF-AC4A-BFA66F36C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7E8E2364-DAEF-4A72-9EA2-853378ECF8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29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81351" y="1585871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116623" y="3042080"/>
            <a:ext cx="69107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-44337" y="3806986"/>
            <a:ext cx="9007268" cy="1166855"/>
            <a:chOff x="-759635" y="2037702"/>
            <a:chExt cx="8178676" cy="116685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Shape 319"/>
                <p:cNvSpPr txBox="1"/>
                <p:nvPr/>
              </p:nvSpPr>
              <p:spPr>
                <a:xfrm>
                  <a:off x="1865295" y="2248718"/>
                  <a:ext cx="555374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9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5553746" cy="504600"/>
                </a:xfrm>
                <a:prstGeom prst="rect">
                  <a:avLst/>
                </a:prstGeom>
                <a:blipFill>
                  <a:blip r:embed="rId5"/>
                  <a:stretch>
                    <a:fillRect l="-1097" b="-8434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Shape 320"/>
            <p:cNvSpPr txBox="1"/>
            <p:nvPr/>
          </p:nvSpPr>
          <p:spPr>
            <a:xfrm>
              <a:off x="-759635" y="2037702"/>
              <a:ext cx="803673" cy="116685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Logit of </a:t>
              </a:r>
            </a:p>
          </p:txBody>
        </p:sp>
      </p:grpSp>
      <p:pic>
        <p:nvPicPr>
          <p:cNvPr id="21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03585" y="3766365"/>
            <a:ext cx="636521" cy="12017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492369" y="1339687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56846" y="3391225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pic>
        <p:nvPicPr>
          <p:cNvPr id="24" name="Picture 2" descr="Image result for logi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11" y="4012549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3273669" y="134921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Many Cones?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340344" y="338756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ill they buy a cone Y/N?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27538" y="5518312"/>
            <a:ext cx="6431201" cy="4956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e will let R handle calculating the equation output </a:t>
            </a:r>
            <a:r>
              <a:rPr lang="en-US" dirty="0" err="1"/>
              <a:t>logOdds</a:t>
            </a:r>
            <a:r>
              <a:rPr lang="en-US" dirty="0"/>
              <a:t> to the more understandable probability of an event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3D1260B-DDF3-0D4D-8C3C-5153BC4B584F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AE9BD1A-E52C-0142-9B00-C79EE3908089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310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4769780" y="3692436"/>
            <a:ext cx="41599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Bag of Words organization as a modeling matrix (time permitting other matrices)</a:t>
            </a:r>
          </a:p>
        </p:txBody>
      </p:sp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Modeling Process</a:t>
            </a:r>
            <a:endParaRPr lang="en-US" alt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FCA8A2A-BA2A-4F59-BDF1-B1C7549B90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67524C8B-E040-46C3-90CB-4F7DAB9FD55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286750" y="6356350"/>
            <a:ext cx="857250" cy="365125"/>
          </a:xfrm>
        </p:spPr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14</a:t>
            </a:r>
          </a:p>
        </p:txBody>
      </p:sp>
      <p:sp>
        <p:nvSpPr>
          <p:cNvPr id="3" name="Pentagon 2"/>
          <p:cNvSpPr/>
          <p:nvPr/>
        </p:nvSpPr>
        <p:spPr>
          <a:xfrm>
            <a:off x="514342" y="2482759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1. Sample</a:t>
            </a:r>
          </a:p>
        </p:txBody>
      </p:sp>
      <p:sp>
        <p:nvSpPr>
          <p:cNvPr id="9" name="Pentagon 8"/>
          <p:cNvSpPr/>
          <p:nvPr/>
        </p:nvSpPr>
        <p:spPr>
          <a:xfrm>
            <a:off x="514342" y="3120934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2. Explore</a:t>
            </a:r>
          </a:p>
        </p:txBody>
      </p:sp>
      <p:sp>
        <p:nvSpPr>
          <p:cNvPr id="10" name="Pentagon 9"/>
          <p:cNvSpPr/>
          <p:nvPr/>
        </p:nvSpPr>
        <p:spPr>
          <a:xfrm>
            <a:off x="514342" y="3759109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3. Modify</a:t>
            </a:r>
          </a:p>
        </p:txBody>
      </p:sp>
      <p:sp>
        <p:nvSpPr>
          <p:cNvPr id="11" name="Pentagon 10"/>
          <p:cNvSpPr/>
          <p:nvPr/>
        </p:nvSpPr>
        <p:spPr>
          <a:xfrm>
            <a:off x="514342" y="4397284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4. Model</a:t>
            </a:r>
          </a:p>
        </p:txBody>
      </p:sp>
      <p:sp>
        <p:nvSpPr>
          <p:cNvPr id="12" name="Pentagon 11"/>
          <p:cNvSpPr/>
          <p:nvPr/>
        </p:nvSpPr>
        <p:spPr>
          <a:xfrm>
            <a:off x="514342" y="5035459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5. Asses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769780" y="5040225"/>
            <a:ext cx="38193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Measure Accuracy but there are other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786381" y="302568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769780" y="3046852"/>
            <a:ext cx="4374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Very basic EDA to get familiar w/data but more needs to be done in reality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786381" y="3721011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786381" y="4363949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769780" y="43639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Other methods exist but we only use LASSO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4786381" y="502117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769780" y="24208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For </a:t>
            </a:r>
            <a:r>
              <a:rPr lang="en-US" dirty="0" err="1">
                <a:solidFill>
                  <a:prstClr val="black"/>
                </a:solidFill>
              </a:rPr>
              <a:t>elasticNet</a:t>
            </a:r>
            <a:r>
              <a:rPr lang="en-US" dirty="0">
                <a:solidFill>
                  <a:prstClr val="black"/>
                </a:solidFill>
              </a:rPr>
              <a:t> we will do random sampling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4667249" y="1873156"/>
            <a:ext cx="3829050" cy="43338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schemeClr val="accent6"/>
                </a:solidFill>
                <a:latin typeface="Franklin Gothic Book" pitchFamily="34" charset="0"/>
              </a:rPr>
              <a:t>In this course…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F20F4D9-27DA-46A0-A9CB-0BBE713D0B9C}"/>
              </a:ext>
            </a:extLst>
          </p:cNvPr>
          <p:cNvSpPr txBox="1">
            <a:spLocks/>
          </p:cNvSpPr>
          <p:nvPr/>
        </p:nvSpPr>
        <p:spPr>
          <a:xfrm>
            <a:off x="495305" y="1873156"/>
            <a:ext cx="3829050" cy="43338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schemeClr val="accent6"/>
                </a:solidFill>
                <a:latin typeface="Franklin Gothic Book" pitchFamily="34" charset="0"/>
              </a:rPr>
              <a:t>SEMMA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AC33FEC-AA1C-BE43-8C10-3537AA1D44B6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15AB9F1-1DC5-5E42-A9DC-21677E2B2B66}"/>
              </a:ext>
            </a:extLst>
          </p:cNvPr>
          <p:cNvCxnSpPr/>
          <p:nvPr/>
        </p:nvCxnSpPr>
        <p:spPr>
          <a:xfrm>
            <a:off x="7076661" y="5450074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2CE3A57F-E6C2-9444-8FDE-E3332673C4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111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3" grpId="0" animBg="1"/>
      <p:bldP spid="9" grpId="0" animBg="1"/>
      <p:bldP spid="10" grpId="0" animBg="1"/>
      <p:bldP spid="11" grpId="0" animBg="1"/>
      <p:bldP spid="12" grpId="0" animBg="1"/>
      <p:bldP spid="4" grpId="0"/>
      <p:bldP spid="16" grpId="0"/>
      <p:bldP spid="20" grpId="0"/>
      <p:bldP spid="2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2A65B911-9982-4A89-9B53-F535584EE6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gistic Regression</a:t>
            </a:r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A380AF3B-4CCA-4756-901C-4F89996B35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3CA6B3B4-818A-47FC-85CE-C6388340F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738554" y="1453662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Extends idea of linear regression to situation where outcome variable is </a:t>
            </a:r>
            <a:r>
              <a:rPr lang="en-US" altLang="en-US" b="1" dirty="0"/>
              <a:t>categorical</a:t>
            </a:r>
          </a:p>
          <a:p>
            <a:endParaRPr lang="en-US" altLang="en-US" dirty="0"/>
          </a:p>
          <a:p>
            <a:r>
              <a:rPr lang="en-US" altLang="en-US" dirty="0"/>
              <a:t>Instead of ordinary least squares, </a:t>
            </a:r>
            <a:r>
              <a:rPr lang="en-US" altLang="en-US" i="1" dirty="0">
                <a:latin typeface="Symbol" panose="05050102010706020507" pitchFamily="18" charset="2"/>
              </a:rPr>
              <a:t>b </a:t>
            </a:r>
            <a:r>
              <a:rPr lang="en-US" altLang="en-US" dirty="0"/>
              <a:t>are derived through an iterative process called </a:t>
            </a:r>
            <a:r>
              <a:rPr lang="en-US" altLang="en-US" i="1" dirty="0"/>
              <a:t>maximum likelihood estimation</a:t>
            </a:r>
          </a:p>
          <a:p>
            <a:endParaRPr lang="en-US" altLang="en-US" dirty="0"/>
          </a:p>
          <a:p>
            <a:r>
              <a:rPr lang="en-US" altLang="en-US" dirty="0"/>
              <a:t>We focus on binary classification</a:t>
            </a:r>
          </a:p>
          <a:p>
            <a:pPr lvl="1">
              <a:buFont typeface="Wingdings 2" panose="05020102010507070707" pitchFamily="18" charset="2"/>
              <a:buNone/>
            </a:pPr>
            <a:r>
              <a:rPr lang="en-US" altLang="en-US" dirty="0"/>
              <a:t>i.e.  </a:t>
            </a:r>
            <a:r>
              <a:rPr lang="en-US" altLang="en-US" i="1" dirty="0"/>
              <a:t>Y</a:t>
            </a:r>
            <a:r>
              <a:rPr lang="en-US" altLang="en-US" dirty="0"/>
              <a:t>=0 or </a:t>
            </a:r>
            <a:r>
              <a:rPr lang="en-US" altLang="en-US" i="1" dirty="0"/>
              <a:t>Y</a:t>
            </a:r>
            <a:r>
              <a:rPr lang="en-US" altLang="en-US" dirty="0"/>
              <a:t>=1</a:t>
            </a:r>
          </a:p>
          <a:p>
            <a:endParaRPr lang="en-US" altLang="en-US" dirty="0"/>
          </a:p>
          <a:p>
            <a:endParaRPr lang="en-US" alt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4CC003-053E-094C-A6A1-B39704A7988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999C00-0EBB-4549-AFA0-7FB0E2EB59D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0390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D4843871-DD57-49EE-8EA2-9C7012BEDA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binary relationship between carat and price</a:t>
            </a:r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4DBA96E0-A9ED-461D-BA8F-0898E3B969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FF8EFC-2D5B-483F-B22E-995CB252AF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995767" y="1328738"/>
            <a:ext cx="3152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amonds above or below $11K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DB353A-1157-DE42-83F1-27421DF30D1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9B818E0-3BF8-F542-85CE-94085EF40462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3863C22-A166-08FA-5A61-E3D95E8208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1853" y="1827357"/>
            <a:ext cx="5080294" cy="4399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55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2125963-ACAB-4657-A16F-BEB01B8C7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binary relationship between carat and pric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E1DE0E99-225C-41F0-8428-177D6B604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55B7368E-28D8-4125-9A7F-3CBA8ABD94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109" y="2594534"/>
            <a:ext cx="5070760" cy="28579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225256" y="2232381"/>
            <a:ext cx="3152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amonds above or below $11K</a:t>
            </a:r>
          </a:p>
        </p:txBody>
      </p:sp>
      <p:cxnSp>
        <p:nvCxnSpPr>
          <p:cNvPr id="7" name="Straight Arrow Connector 6"/>
          <p:cNvCxnSpPr>
            <a:cxnSpLocks/>
          </p:cNvCxnSpPr>
          <p:nvPr/>
        </p:nvCxnSpPr>
        <p:spPr>
          <a:xfrm flipV="1">
            <a:off x="641369" y="2418105"/>
            <a:ext cx="4320240" cy="282288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5496580" y="3108748"/>
            <a:ext cx="3476939" cy="168059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is this diamond worth more than $11K or not.”   Predicting 2 means 2 </a:t>
            </a:r>
            <a:r>
              <a:rPr lang="en-US" dirty="0" err="1"/>
              <a:t>yes’es</a:t>
            </a:r>
            <a:r>
              <a:rPr lang="en-US" dirty="0"/>
              <a:t>?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2A676B7-FE05-1048-BDF7-A0AA9AC8C28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C117576-559D-904C-9DBC-C206F52C2E16}"/>
              </a:ext>
            </a:extLst>
          </p:cNvPr>
          <p:cNvCxnSpPr/>
          <p:nvPr/>
        </p:nvCxnSpPr>
        <p:spPr>
          <a:xfrm>
            <a:off x="2710049" y="5254070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8BC5C0-9691-3E40-9802-2B289BCB17C3}"/>
              </a:ext>
            </a:extLst>
          </p:cNvPr>
          <p:cNvCxnSpPr/>
          <p:nvPr/>
        </p:nvCxnSpPr>
        <p:spPr>
          <a:xfrm>
            <a:off x="7076661" y="5719017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03437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6C57D140-CB2D-43E9-B930-4847B406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5D31558E-2632-44A4-A6D7-C3BB76AF7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CC962340-904A-4174-837D-ADE8E072F4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A9AC2CB2-130D-485E-9A4E-D6F286DCAA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8325" y="3442093"/>
            <a:ext cx="4662488" cy="2696770"/>
          </a:xfrm>
          <a:prstGeom prst="rect">
            <a:avLst/>
          </a:prstGeom>
        </p:spPr>
      </p:pic>
      <p:pic>
        <p:nvPicPr>
          <p:cNvPr id="8" name="Picture 2" descr="Image result for logi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748" y="1155044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114551" y="1300163"/>
            <a:ext cx="6411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is the log-odds of the price above $11K? = Beta + Beta*Cara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200" y="1271583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7201" y="2057400"/>
            <a:ext cx="6644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Convert to </a:t>
            </a:r>
            <a:r>
              <a:rPr lang="en-US" b="1" u="sng" dirty="0"/>
              <a:t>probability</a:t>
            </a:r>
            <a:r>
              <a:rPr lang="en-US" dirty="0"/>
              <a:t> with logistic response function (</a:t>
            </a:r>
            <a:r>
              <a:rPr lang="en-US" dirty="0" err="1"/>
              <a:t>e^l</a:t>
            </a:r>
            <a:r>
              <a:rPr lang="en-US" dirty="0"/>
              <a:t> / (1+e^l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" y="2857500"/>
            <a:ext cx="71954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The probabilities are more intuitive than the log-odds from the equation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7E3965-7AA2-5E4D-8277-6E00552BDE09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2F4EDAD-40E0-3B47-BBC6-C0127781D57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22469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CAA Classification Madnes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809120" y="1754862"/>
            <a:ext cx="2714964" cy="362990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College Basketball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Annual 64 team tournament</a:t>
            </a:r>
          </a:p>
          <a:p>
            <a:pPr marL="0" indent="0">
              <a:buNone/>
            </a:pPr>
            <a:endParaRPr lang="en-US" sz="18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  <a:p>
            <a:pPr marL="0" indent="0">
              <a:buNone/>
            </a:pPr>
            <a:r>
              <a:rPr lang="en-US" sz="1800" b="1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usiness Impact: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1B wagered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2B in lost productivity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ragging Rights</a:t>
            </a:r>
          </a:p>
        </p:txBody>
      </p:sp>
      <p:pic>
        <p:nvPicPr>
          <p:cNvPr id="7" name="Picture 2" descr="http://ll-media.tmz.com/2013/02/28/0228-adidas-ncaa-jerseys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9" y="1808592"/>
            <a:ext cx="5029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79565" y="1145978"/>
            <a:ext cx="8071339" cy="404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jective: Identify the probability of a team winning in Round 1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7241E83-00A6-7947-93EE-E56E5CA45A5D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63C8FE-9D67-7540-9C6B-0BE174B26860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12109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y friend Mandy is next level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122148"/>
            <a:ext cx="8818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https://fivethirtyeight.com/features/how-a-data-scientist-whod-never-heard-of-basketball-mastered-march-madness/</a:t>
            </a:r>
            <a:endParaRPr lang="en-US" sz="1400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623" y="1479982"/>
            <a:ext cx="6910754" cy="389803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5CECB81-A14A-A04B-937B-B821FF1632D3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2AB4E43-4819-9F48-AA08-B1427AD6609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60361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4AB8AA-287A-4F43-B280-22ADBC0BC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91EA20-A3BE-4327-B75E-B8492FAC5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_teamProbabilities.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119BF5-385F-4EE6-8C99-0D051D0449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901687-B018-483D-AFD3-D8B5D669EC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6</a:t>
            </a:fld>
            <a:endParaRPr lang="en-US" dirty="0"/>
          </a:p>
        </p:txBody>
      </p:sp>
      <p:pic>
        <p:nvPicPr>
          <p:cNvPr id="4100" name="Picture 4" descr="Image result for logistic regression meme">
            <a:extLst>
              <a:ext uri="{FF2B5EF4-FFF2-40B4-BE49-F238E27FC236}">
                <a16:creationId xmlns:a16="http://schemas.microsoft.com/office/drawing/2014/main" id="{C6366623-2697-4C05-99E4-C1A7E38B2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202" y="1568245"/>
            <a:ext cx="3795596" cy="372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00C9D5-5795-7742-B451-E547ABD9E5A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94D3A04-8309-C940-9821-75531555200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21673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Date Placeholder 4">
            <a:extLst>
              <a:ext uri="{FF2B5EF4-FFF2-40B4-BE49-F238E27FC236}">
                <a16:creationId xmlns:a16="http://schemas.microsoft.com/office/drawing/2014/main" id="{85B66C39-0CE5-450D-9865-91A8C3D24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ing Step: Basic Partitioning Schem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4025AF9-D517-4374-858B-15C7F77DA0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34" name="Slide Number Placeholder 6">
            <a:extLst>
              <a:ext uri="{FF2B5EF4-FFF2-40B4-BE49-F238E27FC236}">
                <a16:creationId xmlns:a16="http://schemas.microsoft.com/office/drawing/2014/main" id="{49EBAA47-39C6-4528-94CE-7B820D1C7E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/>
          </a:p>
          <a:p>
            <a:pPr>
              <a:buFont typeface="Wingdings 2" pitchFamily="18" charset="2"/>
              <a:buNone/>
            </a:pPr>
            <a:endParaRPr lang="en-US" b="1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3BE92A4-CCFD-A64D-A649-7B7E3BA61BF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5AD637B-2FF9-4142-B544-7B393ECF37F8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131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Date Placeholder 4">
            <a:extLst>
              <a:ext uri="{FF2B5EF4-FFF2-40B4-BE49-F238E27FC236}">
                <a16:creationId xmlns:a16="http://schemas.microsoft.com/office/drawing/2014/main" id="{48AD8924-F799-462A-8F21-C03801A5AE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od for prod deployments</a:t>
            </a:r>
          </a:p>
        </p:txBody>
      </p:sp>
      <p:sp>
        <p:nvSpPr>
          <p:cNvPr id="34" name="Footer Placeholder 5">
            <a:extLst>
              <a:ext uri="{FF2B5EF4-FFF2-40B4-BE49-F238E27FC236}">
                <a16:creationId xmlns:a16="http://schemas.microsoft.com/office/drawing/2014/main" id="{B38A4CE5-E84E-4B34-BAB1-8021C5ADF2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35" name="Slide Number Placeholder 6">
            <a:extLst>
              <a:ext uri="{FF2B5EF4-FFF2-40B4-BE49-F238E27FC236}">
                <a16:creationId xmlns:a16="http://schemas.microsoft.com/office/drawing/2014/main" id="{6234B450-33F5-4610-8807-E214E859A0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a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6ED22FF-EA50-5A4E-90A8-AD11B1C3B016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F8C5E7B-E5E2-CD42-B6EE-804F43F2CC1F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4842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FC8292-8044-437F-8196-3A4E6FB33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6/9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9A768F-B0FE-409E-A172-AB83EB956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perform sampling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20BC96-3351-4904-A20A-CA87B459B2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BA0072-4294-40BF-B8D4-5068C6DB85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6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A778862-3B14-4B4A-97C3-ADFA1E769DAA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C5C0E0-FA4C-D04A-8028-F4D4BBE1C588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Image result for overfitting meme">
            <a:extLst>
              <a:ext uri="{FF2B5EF4-FFF2-40B4-BE49-F238E27FC236}">
                <a16:creationId xmlns:a16="http://schemas.microsoft.com/office/drawing/2014/main" id="{66F61716-9095-8545-8B79-1FE53D140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5038" y="1843088"/>
            <a:ext cx="4733925" cy="317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1735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D0A394D-5250-C030-DB2F-86E8C68724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pervised Learning Examp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C7F19D0-91F3-EF4E-B14B-48857F955BD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D7BF299-BC54-064B-80ED-5DFED0ABE1C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2EE0C2ED-FADE-1B43-963B-4F82699B23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6/9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ar Regression for continuous outcom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706582" y="1273114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DC043C-207D-2947-9E57-1C316891620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0EED5C9-95AE-044F-B86E-30B4AD8F104A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C5E19B5-3C1F-1844-8A05-71C778AAFD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708</TotalTime>
  <Words>1504</Words>
  <Application>Microsoft Macintosh PowerPoint</Application>
  <PresentationFormat>On-screen Show (4:3)</PresentationFormat>
  <Paragraphs>399</Paragraphs>
  <Slides>3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5" baseType="lpstr">
      <vt:lpstr>Arial</vt:lpstr>
      <vt:lpstr>Calibri</vt:lpstr>
      <vt:lpstr>Cambria Math</vt:lpstr>
      <vt:lpstr>Franklin Gothic Book</vt:lpstr>
      <vt:lpstr>Open Sans</vt:lpstr>
      <vt:lpstr>Symbol</vt:lpstr>
      <vt:lpstr>Wingdings 2</vt:lpstr>
      <vt:lpstr>1_Office Theme</vt:lpstr>
      <vt:lpstr>think-cell Slide</vt:lpstr>
      <vt:lpstr>Text Mining &amp; NLP Document Classification</vt:lpstr>
      <vt:lpstr>Supervised Learning</vt:lpstr>
      <vt:lpstr>Modeling Process</vt:lpstr>
      <vt:lpstr>Sampling Step: Basic Partitioning Schema</vt:lpstr>
      <vt:lpstr>Good for prod deployments</vt:lpstr>
      <vt:lpstr>Why perform sampling?</vt:lpstr>
      <vt:lpstr>100% fit – not useful for new data</vt:lpstr>
      <vt:lpstr>Supervised Learning Example</vt:lpstr>
      <vt:lpstr>Linear Regression for continuous outcomes</vt:lpstr>
      <vt:lpstr>The linear combination equation captures information</vt:lpstr>
      <vt:lpstr>Regression Equation Review</vt:lpstr>
      <vt:lpstr>PowerPoint Presentation</vt:lpstr>
      <vt:lpstr>PowerPoint Presentation</vt:lpstr>
      <vt:lpstr>Let’s Practice</vt:lpstr>
      <vt:lpstr>Linear Regression</vt:lpstr>
      <vt:lpstr>Minimizing the Sum of Ordinary Least Squared Errors</vt:lpstr>
      <vt:lpstr>Big Errors</vt:lpstr>
      <vt:lpstr>So what is really going on?</vt:lpstr>
      <vt:lpstr>Open B_newCar.R</vt:lpstr>
      <vt:lpstr>Highlights of a fit summary</vt:lpstr>
      <vt:lpstr>Highlights of a fit summary</vt:lpstr>
      <vt:lpstr>Highlights of a fit summary</vt:lpstr>
      <vt:lpstr>Parsimonious Model</vt:lpstr>
      <vt:lpstr>Compare the two models</vt:lpstr>
      <vt:lpstr>Evaluating a Prediction Model</vt:lpstr>
      <vt:lpstr>RMSE</vt:lpstr>
      <vt:lpstr>RMSE</vt:lpstr>
      <vt:lpstr>What about binary outcomes (Y/N, A/B, etc)?</vt:lpstr>
      <vt:lpstr>Step 1: Logistic Response Function</vt:lpstr>
      <vt:lpstr>Logistic Regression</vt:lpstr>
      <vt:lpstr>A binary relationship between carat and price</vt:lpstr>
      <vt:lpstr>A binary relationship between carat and price</vt:lpstr>
      <vt:lpstr>PowerPoint Presentation</vt:lpstr>
      <vt:lpstr>NCAA Classification Madness</vt:lpstr>
      <vt:lpstr>My friend Mandy is next level.</vt:lpstr>
      <vt:lpstr>C_teamProbabilities.R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Ted Kwartler</cp:lastModifiedBy>
  <cp:revision>411</cp:revision>
  <dcterms:created xsi:type="dcterms:W3CDTF">2018-05-23T17:24:59Z</dcterms:created>
  <dcterms:modified xsi:type="dcterms:W3CDTF">2024-06-09T17:55:49Z</dcterms:modified>
</cp:coreProperties>
</file>